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6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7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 bookmarkIdSeed="2">
  <p:sldMasterIdLst>
    <p:sldMasterId id="2147484375" r:id="rId1"/>
    <p:sldMasterId id="2147484419" r:id="rId2"/>
    <p:sldMasterId id="2147484414" r:id="rId3"/>
    <p:sldMasterId id="2147483648" r:id="rId4"/>
    <p:sldMasterId id="2147483883" r:id="rId5"/>
    <p:sldMasterId id="2147484405" r:id="rId6"/>
    <p:sldMasterId id="2147484410" r:id="rId7"/>
  </p:sldMasterIdLst>
  <p:notesMasterIdLst>
    <p:notesMasterId r:id="rId18"/>
  </p:notesMasterIdLst>
  <p:handoutMasterIdLst>
    <p:handoutMasterId r:id="rId19"/>
  </p:handoutMasterIdLst>
  <p:sldIdLst>
    <p:sldId id="2145706564" r:id="rId8"/>
    <p:sldId id="2145706576" r:id="rId9"/>
    <p:sldId id="2145706555" r:id="rId10"/>
    <p:sldId id="2145706565" r:id="rId11"/>
    <p:sldId id="2145706566" r:id="rId12"/>
    <p:sldId id="2145706575" r:id="rId13"/>
    <p:sldId id="2145706574" r:id="rId14"/>
    <p:sldId id="2145706570" r:id="rId15"/>
    <p:sldId id="2145706578" r:id="rId16"/>
    <p:sldId id="2145706577" r:id="rId17"/>
  </p:sldIdLst>
  <p:sldSz cx="12192000" cy="6858000"/>
  <p:notesSz cx="7102475" cy="9388475"/>
  <p:embeddedFontLst>
    <p:embeddedFont>
      <p:font typeface="Arial Black" panose="020B0A04020102020204" pitchFamily="34" charset="0"/>
      <p:bold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alibri Light" panose="020F0302020204030204" pitchFamily="34" charset="0"/>
      <p:regular r:id="rId25"/>
      <p:italic r:id="rId26"/>
    </p:embeddedFont>
    <p:embeddedFont>
      <p:font typeface="Segoe UI" panose="020B0502040204020203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  <p:cmAuthor id="2" name="Zelinda Welch" initials="ZW" lastIdx="4" clrIdx="1">
    <p:extLst>
      <p:ext uri="{19B8F6BF-5375-455C-9EA6-DF929625EA0E}">
        <p15:presenceInfo xmlns:p15="http://schemas.microsoft.com/office/powerpoint/2012/main" userId="S::zelindaw@usc.edu::4ae57176-53eb-44e0-84b0-ebff44737a6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0000"/>
    <a:srgbClr val="F4D0D0"/>
    <a:srgbClr val="FFFFFF"/>
    <a:srgbClr val="D1D1D1"/>
    <a:srgbClr val="E8E8E8"/>
    <a:srgbClr val="A22424"/>
    <a:srgbClr val="AC2A2A"/>
    <a:srgbClr val="C02E2E"/>
    <a:srgbClr val="D24242"/>
    <a:srgbClr val="D652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54" autoAdjust="0"/>
    <p:restoredTop sz="94141" autoAdjust="0"/>
  </p:normalViewPr>
  <p:slideViewPr>
    <p:cSldViewPr snapToObjects="1">
      <p:cViewPr varScale="1">
        <p:scale>
          <a:sx n="101" d="100"/>
          <a:sy n="101" d="100"/>
        </p:scale>
        <p:origin x="328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190"/>
    </p:cViewPr>
  </p:sorterViewPr>
  <p:notesViewPr>
    <p:cSldViewPr snapToObjects="1">
      <p:cViewPr>
        <p:scale>
          <a:sx n="75" d="100"/>
          <a:sy n="75" d="100"/>
        </p:scale>
        <p:origin x="3204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6.fntdata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font" Target="fonts/font5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k Dalrymple" userId="5f646eee-05d8-47c7-954c-4302b3078151" providerId="ADAL" clId="{5A224443-A29C-4DF5-92BC-3ED84F529D48}"/>
    <pc:docChg chg="modSld">
      <pc:chgData name="Mick Dalrymple" userId="5f646eee-05d8-47c7-954c-4302b3078151" providerId="ADAL" clId="{5A224443-A29C-4DF5-92BC-3ED84F529D48}" dt="2022-10-19T05:37:11.787" v="153" actId="20577"/>
      <pc:docMkLst>
        <pc:docMk/>
      </pc:docMkLst>
      <pc:sldChg chg="modSp mod">
        <pc:chgData name="Mick Dalrymple" userId="5f646eee-05d8-47c7-954c-4302b3078151" providerId="ADAL" clId="{5A224443-A29C-4DF5-92BC-3ED84F529D48}" dt="2022-10-19T05:31:32.292" v="19" actId="20577"/>
        <pc:sldMkLst>
          <pc:docMk/>
          <pc:sldMk cId="3984172444" sldId="2145706564"/>
        </pc:sldMkLst>
        <pc:spChg chg="mod">
          <ac:chgData name="Mick Dalrymple" userId="5f646eee-05d8-47c7-954c-4302b3078151" providerId="ADAL" clId="{5A224443-A29C-4DF5-92BC-3ED84F529D48}" dt="2022-10-19T05:31:32.292" v="19" actId="20577"/>
          <ac:spMkLst>
            <pc:docMk/>
            <pc:sldMk cId="3984172444" sldId="2145706564"/>
            <ac:spMk id="3" creationId="{17155F89-E77D-5F28-BE12-C36D6968E7A6}"/>
          </ac:spMkLst>
        </pc:spChg>
      </pc:sldChg>
      <pc:sldChg chg="modSp mod">
        <pc:chgData name="Mick Dalrymple" userId="5f646eee-05d8-47c7-954c-4302b3078151" providerId="ADAL" clId="{5A224443-A29C-4DF5-92BC-3ED84F529D48}" dt="2022-10-19T05:37:11.787" v="153" actId="20577"/>
        <pc:sldMkLst>
          <pc:docMk/>
          <pc:sldMk cId="425933204" sldId="2145706575"/>
        </pc:sldMkLst>
        <pc:spChg chg="mod">
          <ac:chgData name="Mick Dalrymple" userId="5f646eee-05d8-47c7-954c-4302b3078151" providerId="ADAL" clId="{5A224443-A29C-4DF5-92BC-3ED84F529D48}" dt="2022-10-19T05:37:11.787" v="153" actId="20577"/>
          <ac:spMkLst>
            <pc:docMk/>
            <pc:sldMk cId="425933204" sldId="2145706575"/>
            <ac:spMk id="3" creationId="{10B68B63-3A21-8376-A103-34C99759A8F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8 October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8 October 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nation of  how the constellation of sustainability aligns under the Assignment: Earth umbrella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8 October 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989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Grants to create new classes, minors, or majors, or infuse sustainability into existing courses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Faculty from ALL schools, and both undergrad and grad are eligible </a:t>
            </a:r>
          </a:p>
          <a:p>
            <a:pPr marL="724662" lvl="2" indent="-285750">
              <a:buFont typeface="Arial" panose="020B0604020202020204" pitchFamily="34" charset="0"/>
              <a:buChar char="•"/>
            </a:pPr>
            <a:r>
              <a:rPr lang="en-US" sz="2000" dirty="0"/>
              <a:t>Faculty from Annenberg, Architecture, </a:t>
            </a:r>
            <a:r>
              <a:rPr lang="en-US" sz="2000" dirty="0" err="1"/>
              <a:t>Dornsife</a:t>
            </a:r>
            <a:r>
              <a:rPr lang="en-US" sz="2000" dirty="0"/>
              <a:t>, Keck, Marshall, </a:t>
            </a:r>
            <a:r>
              <a:rPr lang="en-US" sz="2000" dirty="0" err="1"/>
              <a:t>Rossier</a:t>
            </a:r>
            <a:r>
              <a:rPr lang="en-US" sz="2000" dirty="0"/>
              <a:t>, and Viterbi received grants last year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8 October 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032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3.emf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0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3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010F1-68DD-674C-BB73-BAB498BD82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272580-6E0F-E04A-8BD5-452F8287B4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38600"/>
            <a:ext cx="9144000" cy="1219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02132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B6FC7F1-15BB-1168-A543-4F6C8645EA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4A89C96-4D02-3B54-7D5A-F3C41AA025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5B67A7-9764-4648-A4FD-D53E41DC2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C9C034-1E0D-7A47-B7CD-3D83387AA849}"/>
              </a:ext>
            </a:extLst>
          </p:cNvPr>
          <p:cNvSpPr/>
          <p:nvPr userDrawn="1"/>
        </p:nvSpPr>
        <p:spPr>
          <a:xfrm>
            <a:off x="847225" y="3483683"/>
            <a:ext cx="3419975" cy="2231318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AC9EB0-DDEC-514C-812C-B5C70EFCE00C}"/>
              </a:ext>
            </a:extLst>
          </p:cNvPr>
          <p:cNvSpPr/>
          <p:nvPr userDrawn="1"/>
        </p:nvSpPr>
        <p:spPr>
          <a:xfrm>
            <a:off x="4395037" y="3487694"/>
            <a:ext cx="3419976" cy="2231318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DBDDB3-6EAE-274D-A31F-F66209E40892}"/>
              </a:ext>
            </a:extLst>
          </p:cNvPr>
          <p:cNvSpPr/>
          <p:nvPr userDrawn="1"/>
        </p:nvSpPr>
        <p:spPr>
          <a:xfrm>
            <a:off x="7924799" y="3483683"/>
            <a:ext cx="3419976" cy="2231318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73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7C9ED9-8196-4BA6-82D8-B7D652A195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52728" y="2998596"/>
            <a:ext cx="3686544" cy="860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577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052A37-8810-3467-40E8-D121477CAD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DBED4A-D65F-9541-54E8-5FDE3CD575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B26857-6D10-F5B5-3B7B-04512623E632}"/>
              </a:ext>
            </a:extLst>
          </p:cNvPr>
          <p:cNvSpPr txBox="1"/>
          <p:nvPr userDrawn="1"/>
        </p:nvSpPr>
        <p:spPr>
          <a:xfrm>
            <a:off x="508000" y="152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67E967C-F3DC-DB85-A32F-36F5FB9F5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19287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798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DB3DD6-C0F1-6143-87E4-4D10F43072C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56250" y="702424"/>
            <a:ext cx="9735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B260722-A85A-7443-8C87-283E7878F947}"/>
              </a:ext>
            </a:extLst>
          </p:cNvPr>
          <p:cNvSpPr/>
          <p:nvPr userDrawn="1"/>
        </p:nvSpPr>
        <p:spPr>
          <a:xfrm>
            <a:off x="6127396" y="1825625"/>
            <a:ext cx="5226404" cy="4384675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2AB0BC7-5EBE-5433-D030-A22ED7F606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34162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CAF7BA-A388-4648-8C34-5F5C8684F985}"/>
              </a:ext>
            </a:extLst>
          </p:cNvPr>
          <p:cNvSpPr txBox="1"/>
          <p:nvPr userDrawn="1"/>
        </p:nvSpPr>
        <p:spPr>
          <a:xfrm>
            <a:off x="5847347" y="115503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3771BE-7561-F67F-7CE2-48ED0D6F1662}"/>
              </a:ext>
            </a:extLst>
          </p:cNvPr>
          <p:cNvSpPr txBox="1">
            <a:spLocks/>
          </p:cNvSpPr>
          <p:nvPr userDrawn="1"/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cap="all" spc="4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B290CC7-913D-FB77-B20D-6F05518EB0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1444AD1-1580-921C-C78A-B101C2ACDF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66706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7D26BA0-80AE-61C9-83C7-BE04263D1F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91ED7AB8-3B27-EC12-D98A-A034A8D7AA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5B67A7-9764-4648-A4FD-D53E41DC2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C9C034-1E0D-7A47-B7CD-3D83387AA849}"/>
              </a:ext>
            </a:extLst>
          </p:cNvPr>
          <p:cNvSpPr/>
          <p:nvPr userDrawn="1"/>
        </p:nvSpPr>
        <p:spPr>
          <a:xfrm>
            <a:off x="847225" y="3483682"/>
            <a:ext cx="3419975" cy="2307518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AC9EB0-DDEC-514C-812C-B5C70EFCE00C}"/>
              </a:ext>
            </a:extLst>
          </p:cNvPr>
          <p:cNvSpPr/>
          <p:nvPr userDrawn="1"/>
        </p:nvSpPr>
        <p:spPr>
          <a:xfrm>
            <a:off x="4395037" y="3487693"/>
            <a:ext cx="3419976" cy="2307518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DBDDB3-6EAE-274D-A31F-F66209E40892}"/>
              </a:ext>
            </a:extLst>
          </p:cNvPr>
          <p:cNvSpPr/>
          <p:nvPr userDrawn="1"/>
        </p:nvSpPr>
        <p:spPr>
          <a:xfrm>
            <a:off x="7924799" y="3483682"/>
            <a:ext cx="3419976" cy="2307518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1942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7C9ED9-8196-4BA6-82D8-B7D652A195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52728" y="2998596"/>
            <a:ext cx="3686544" cy="860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056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7010F1-68DD-674C-BB73-BAB498BD82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272580-6E0F-E04A-8BD5-452F8287B4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38600"/>
            <a:ext cx="9144000" cy="1219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41930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CAF7BA-A388-4648-8C34-5F5C8684F985}"/>
              </a:ext>
            </a:extLst>
          </p:cNvPr>
          <p:cNvSpPr txBox="1"/>
          <p:nvPr userDrawn="1"/>
        </p:nvSpPr>
        <p:spPr>
          <a:xfrm>
            <a:off x="5847347" y="115503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3771BE-7561-F67F-7CE2-48ED0D6F1662}"/>
              </a:ext>
            </a:extLst>
          </p:cNvPr>
          <p:cNvSpPr txBox="1">
            <a:spLocks/>
          </p:cNvSpPr>
          <p:nvPr userDrawn="1"/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cap="all" spc="4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74974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B67A7-9764-4648-A4FD-D53E41DC2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C9C034-1E0D-7A47-B7CD-3D83387AA849}"/>
              </a:ext>
            </a:extLst>
          </p:cNvPr>
          <p:cNvSpPr/>
          <p:nvPr userDrawn="1"/>
        </p:nvSpPr>
        <p:spPr>
          <a:xfrm>
            <a:off x="847225" y="3483682"/>
            <a:ext cx="3419975" cy="245590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AC9EB0-DDEC-514C-812C-B5C70EFCE00C}"/>
              </a:ext>
            </a:extLst>
          </p:cNvPr>
          <p:cNvSpPr/>
          <p:nvPr userDrawn="1"/>
        </p:nvSpPr>
        <p:spPr>
          <a:xfrm>
            <a:off x="4395037" y="3487693"/>
            <a:ext cx="3419976" cy="245590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DBDDB3-6EAE-274D-A31F-F66209E40892}"/>
              </a:ext>
            </a:extLst>
          </p:cNvPr>
          <p:cNvSpPr/>
          <p:nvPr userDrawn="1"/>
        </p:nvSpPr>
        <p:spPr>
          <a:xfrm>
            <a:off x="7924799" y="3483682"/>
            <a:ext cx="3419976" cy="245590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890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7C9ED9-8196-4BA6-82D8-B7D652A195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52728" y="2998596"/>
            <a:ext cx="3686544" cy="860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214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052A37-8810-3467-40E8-D121477CAD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DBED4A-D65F-9541-54E8-5FDE3CD575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B26857-6D10-F5B5-3B7B-04512623E632}"/>
              </a:ext>
            </a:extLst>
          </p:cNvPr>
          <p:cNvSpPr txBox="1"/>
          <p:nvPr userDrawn="1"/>
        </p:nvSpPr>
        <p:spPr>
          <a:xfrm>
            <a:off x="508000" y="152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67E967C-F3DC-DB85-A32F-36F5FB9F5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41090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6798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DB3DD6-C0F1-6143-87E4-4D10F43072C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856250" y="702424"/>
            <a:ext cx="9735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B260722-A85A-7443-8C87-283E7878F947}"/>
              </a:ext>
            </a:extLst>
          </p:cNvPr>
          <p:cNvSpPr/>
          <p:nvPr userDrawn="1"/>
        </p:nvSpPr>
        <p:spPr>
          <a:xfrm>
            <a:off x="6127396" y="1825625"/>
            <a:ext cx="5226404" cy="4384675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2AB0BC7-5EBE-5433-D030-A22ED7F606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052A37-8810-3467-40E8-D121477CAD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DBED4A-D65F-9541-54E8-5FDE3CD575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DB26857-6D10-F5B5-3B7B-04512623E632}"/>
              </a:ext>
            </a:extLst>
          </p:cNvPr>
          <p:cNvSpPr txBox="1"/>
          <p:nvPr userDrawn="1"/>
        </p:nvSpPr>
        <p:spPr>
          <a:xfrm>
            <a:off x="508000" y="15240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67E967C-F3DC-DB85-A32F-36F5FB9F5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33855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C48515-7045-461F-D70B-B1A60E67F048}"/>
              </a:ext>
            </a:extLst>
          </p:cNvPr>
          <p:cNvSpPr/>
          <p:nvPr userDrawn="1"/>
        </p:nvSpPr>
        <p:spPr>
          <a:xfrm>
            <a:off x="847225" y="3483682"/>
            <a:ext cx="3419975" cy="245590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89ECA6-AE64-6EFA-639A-15F6330D1E60}"/>
              </a:ext>
            </a:extLst>
          </p:cNvPr>
          <p:cNvSpPr/>
          <p:nvPr userDrawn="1"/>
        </p:nvSpPr>
        <p:spPr>
          <a:xfrm>
            <a:off x="4395037" y="3487693"/>
            <a:ext cx="3419976" cy="245590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7E2F86-8DFB-0175-BA8D-9B6EF00953EC}"/>
              </a:ext>
            </a:extLst>
          </p:cNvPr>
          <p:cNvSpPr/>
          <p:nvPr userDrawn="1"/>
        </p:nvSpPr>
        <p:spPr>
          <a:xfrm>
            <a:off x="7924799" y="3483682"/>
            <a:ext cx="3419976" cy="245590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212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CAF7BA-A388-4648-8C34-5F5C8684F985}"/>
              </a:ext>
            </a:extLst>
          </p:cNvPr>
          <p:cNvSpPr txBox="1"/>
          <p:nvPr userDrawn="1"/>
        </p:nvSpPr>
        <p:spPr>
          <a:xfrm>
            <a:off x="5847347" y="1155032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3771BE-7561-F67F-7CE2-48ED0D6F1662}"/>
              </a:ext>
            </a:extLst>
          </p:cNvPr>
          <p:cNvSpPr txBox="1">
            <a:spLocks/>
          </p:cNvSpPr>
          <p:nvPr userDrawn="1"/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 cap="all" spc="4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Arial Black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74BB88F-4EC0-8C4E-500B-E32D026A5E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5F6CE3AF-DAC7-7C9C-7ABC-F477A9EE13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5970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image" Target="../media/image4.emf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heme" Target="../theme/theme3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tags" Target="../tags/tag48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tags" Target="../tags/tag47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tags" Target="../tags/tag46.xml"/><Relationship Id="rId28" Type="http://schemas.openxmlformats.org/officeDocument/2006/relationships/image" Target="../media/image4.emf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heme" Target="../theme/theme4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Relationship Id="rId27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69.xml"/><Relationship Id="rId7" Type="http://schemas.openxmlformats.org/officeDocument/2006/relationships/tags" Target="../tags/tag55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tags" Target="../tags/tag73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24" Type="http://schemas.openxmlformats.org/officeDocument/2006/relationships/tags" Target="../tags/tag72.xml"/><Relationship Id="rId5" Type="http://schemas.openxmlformats.org/officeDocument/2006/relationships/tags" Target="../tags/tag53.xml"/><Relationship Id="rId15" Type="http://schemas.openxmlformats.org/officeDocument/2006/relationships/tags" Target="../tags/tag63.xml"/><Relationship Id="rId23" Type="http://schemas.openxmlformats.org/officeDocument/2006/relationships/tags" Target="../tags/tag71.xml"/><Relationship Id="rId28" Type="http://schemas.openxmlformats.org/officeDocument/2006/relationships/image" Target="../media/image4.emf"/><Relationship Id="rId10" Type="http://schemas.openxmlformats.org/officeDocument/2006/relationships/tags" Target="../tags/tag58.xml"/><Relationship Id="rId19" Type="http://schemas.openxmlformats.org/officeDocument/2006/relationships/tags" Target="../tags/tag67.xml"/><Relationship Id="rId4" Type="http://schemas.openxmlformats.org/officeDocument/2006/relationships/theme" Target="../theme/theme5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tags" Target="../tags/tag70.xml"/><Relationship Id="rId27" Type="http://schemas.openxmlformats.org/officeDocument/2006/relationships/image" Target="../media/image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image" Target="../media/image3.emf"/><Relationship Id="rId3" Type="http://schemas.openxmlformats.org/officeDocument/2006/relationships/theme" Target="../theme/theme6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oleObject" Target="../embeddings/oleObject9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20.xml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image" Target="../media/image4.emf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4" Type="http://schemas.openxmlformats.org/officeDocument/2006/relationships/theme" Target="../theme/theme7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93BA0-6603-2148-B58A-364994236B6D}"/>
              </a:ext>
            </a:extLst>
          </p:cNvPr>
          <p:cNvCxnSpPr>
            <a:cxnSpLocks/>
          </p:cNvCxnSpPr>
          <p:nvPr userDrawn="1"/>
        </p:nvCxnSpPr>
        <p:spPr>
          <a:xfrm>
            <a:off x="5470759" y="3810000"/>
            <a:ext cx="1250482" cy="0"/>
          </a:xfrm>
          <a:prstGeom prst="line">
            <a:avLst/>
          </a:prstGeom>
          <a:ln w="76200" cap="flat">
            <a:solidFill>
              <a:srgbClr val="FFC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55CDB5E0-43F4-6225-A89B-86C995EE092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01200" y="5415266"/>
            <a:ext cx="2261616" cy="1168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173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6" r:id="rId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8DBBC9-4915-B764-8380-783CDAC4F23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6793BA0-6603-2148-B58A-364994236B6D}"/>
              </a:ext>
            </a:extLst>
          </p:cNvPr>
          <p:cNvCxnSpPr>
            <a:cxnSpLocks/>
          </p:cNvCxnSpPr>
          <p:nvPr userDrawn="1"/>
        </p:nvCxnSpPr>
        <p:spPr>
          <a:xfrm>
            <a:off x="5470759" y="3810000"/>
            <a:ext cx="1250482" cy="0"/>
          </a:xfrm>
          <a:prstGeom prst="line">
            <a:avLst/>
          </a:prstGeom>
          <a:ln w="76200" cap="flat">
            <a:solidFill>
              <a:schemeClr val="bg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519E81E-6E40-19D7-1E6C-312EB718F9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48303" y="5415266"/>
            <a:ext cx="2315097" cy="1221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99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8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F187C0-BAD1-4294-8D39-769AA200A5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B304F5D-FA99-45BC-A791-89848BD1CF2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91BA5A-CE22-488D-9F34-7673F0EC7E8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3A7DAE4D-A6AE-4427-93C9-F7E236816B0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8A78C8D6-52BE-420E-B486-2CDB9872A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C23E12A-43C9-4FD1-8B88-18DF16DDB0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925F909-3BC0-4529-9432-BC5051FB7AA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AD8A7C7-1DA5-49B4-8E8F-8DB661A94A1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3D183A90-249C-406D-A4EE-CB98FF6064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82AF901-62A7-470E-AB15-F8766F13559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7EC14D5F-18E1-4D62-ACED-E5EF59199A2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A4D563B-7083-48CA-A1D9-53DCF2E7FC0C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C12A7BF8-8043-4362-88BA-45D23517B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0622DCAD-2622-4094-A7BA-19D5E80D6F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1359870-8408-4654-82A7-0514BC18566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BE70520D-7EE8-4C71-B4A5-F6C741ADC7F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EAED902-1A7E-4398-B264-ED97DDC9E57B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10604916-5E75-4614-88C9-C91C99C30CF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03E74D0-7FB6-4175-8503-9AAC28ACE2F1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CBEACB1B-BDE5-4E88-88BD-BE483F6A587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753B21C-EC01-4588-B7A4-0E093E752AD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855953-E880-41D4-B584-31C7B6D1A36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22620F05-2ED2-4A5F-AF05-E62023CE309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97AE226E-2025-482C-9A66-CD353CB02E2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70323C4-586A-4D69-A6C5-7D8A1FA3CA9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46E71DBB-6182-4363-AE64-7539A03BBA0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D6D86B-CDF0-4A4C-A453-A43E7BEF1FB3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81B854FD-2EB1-428A-9A53-0B1F1DD3804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C814F05-A906-456D-9F41-B55401E2D13E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5A905C-46ED-42C2-AC2D-147B4D5929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B6B0ACB7-1351-40EB-862A-9D7508251F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7D7F2103-23D2-402D-A10A-CB712274E2D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3556101-DD16-49BE-8050-C4D1658265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C3B692D-79C9-4FA8-82F8-27DC838D400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2042A26-5AD8-4560-BACA-924021C1AE74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9372A73-0913-4C36-A27E-008757BEEA39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A05966E-E012-413F-9472-EFB21FB0B28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C323064-7B35-4CE4-9732-E094DD6042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D18E6B0-2C80-4A6A-9334-79198B00990A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</p:grpSp>
      <p:sp>
        <p:nvSpPr>
          <p:cNvPr id="149" name="Slide Number">
            <a:extLst>
              <a:ext uri="{FF2B5EF4-FFF2-40B4-BE49-F238E27FC236}">
                <a16:creationId xmlns:a16="http://schemas.microsoft.com/office/drawing/2014/main" id="{5CD3CFCA-CA43-4D78-A103-35464A1680E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96747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44B5D-BB31-F74C-9FB9-B9A7BFB1F714}"/>
              </a:ext>
            </a:extLst>
          </p:cNvPr>
          <p:cNvCxnSpPr>
            <a:cxnSpLocks/>
          </p:cNvCxnSpPr>
          <p:nvPr userDrawn="1"/>
        </p:nvCxnSpPr>
        <p:spPr>
          <a:xfrm>
            <a:off x="856250" y="1159360"/>
            <a:ext cx="1250482" cy="0"/>
          </a:xfrm>
          <a:prstGeom prst="line">
            <a:avLst/>
          </a:prstGeom>
          <a:ln w="76200" cap="flat">
            <a:solidFill>
              <a:srgbClr val="FFC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Content Placeholder 2">
            <a:extLst>
              <a:ext uri="{FF2B5EF4-FFF2-40B4-BE49-F238E27FC236}">
                <a16:creationId xmlns:a16="http://schemas.microsoft.com/office/drawing/2014/main" id="{B99C58A1-4CB8-C947-84EC-EED6E08A2264}"/>
              </a:ext>
            </a:extLst>
          </p:cNvPr>
          <p:cNvSpPr txBox="1">
            <a:spLocks/>
          </p:cNvSpPr>
          <p:nvPr userDrawn="1"/>
        </p:nvSpPr>
        <p:spPr>
          <a:xfrm>
            <a:off x="865005" y="1825625"/>
            <a:ext cx="5181600" cy="4351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1" name="Content Placeholder 3">
            <a:extLst>
              <a:ext uri="{FF2B5EF4-FFF2-40B4-BE49-F238E27FC236}">
                <a16:creationId xmlns:a16="http://schemas.microsoft.com/office/drawing/2014/main" id="{A147A993-A09D-754D-F323-B8A572D65A21}"/>
              </a:ext>
            </a:extLst>
          </p:cNvPr>
          <p:cNvSpPr txBox="1">
            <a:spLocks/>
          </p:cNvSpPr>
          <p:nvPr userDrawn="1"/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5" name="Picture 154">
            <a:extLst>
              <a:ext uri="{FF2B5EF4-FFF2-40B4-BE49-F238E27FC236}">
                <a16:creationId xmlns:a16="http://schemas.microsoft.com/office/drawing/2014/main" id="{AB238630-3418-AD90-4C01-2B53A94813F6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557936" y="5846358"/>
            <a:ext cx="1210572" cy="93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19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5" r:id="rId1"/>
    <p:sldLayoutId id="2147484416" r:id="rId2"/>
    <p:sldLayoutId id="2147484417" r:id="rId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spc="40" baseline="0">
          <a:ln w="6350" cap="flat">
            <a:noFill/>
            <a:miter lim="800000"/>
          </a:ln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432" userDrawn="1">
          <p15:clr>
            <a:srgbClr val="F26B43"/>
          </p15:clr>
        </p15:guide>
        <p15:guide id="5" pos="7152" userDrawn="1">
          <p15:clr>
            <a:srgbClr val="F26B43"/>
          </p15:clr>
        </p15:guide>
        <p15:guide id="6" pos="528" userDrawn="1">
          <p15:clr>
            <a:srgbClr val="F26B43"/>
          </p15:clr>
        </p15:guide>
        <p15:guide id="8" orient="horz" pos="417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4050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8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F187C0-BAD1-4294-8D39-769AA200A5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B304F5D-FA99-45BC-A791-89848BD1CF2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91BA5A-CE22-488D-9F34-7673F0EC7E8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3A7DAE4D-A6AE-4427-93C9-F7E236816B0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8A78C8D6-52BE-420E-B486-2CDB9872A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C23E12A-43C9-4FD1-8B88-18DF16DDB0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925F909-3BC0-4529-9432-BC5051FB7AA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AD8A7C7-1DA5-49B4-8E8F-8DB661A94A1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3D183A90-249C-406D-A4EE-CB98FF6064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82AF901-62A7-470E-AB15-F8766F13559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7EC14D5F-18E1-4D62-ACED-E5EF59199A2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A4D563B-7083-48CA-A1D9-53DCF2E7FC0C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C12A7BF8-8043-4362-88BA-45D23517B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0622DCAD-2622-4094-A7BA-19D5E80D6F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1359870-8408-4654-82A7-0514BC18566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BE70520D-7EE8-4C71-B4A5-F6C741ADC7F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EAED902-1A7E-4398-B264-ED97DDC9E57B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10604916-5E75-4614-88C9-C91C99C30CF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03E74D0-7FB6-4175-8503-9AAC28ACE2F1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CBEACB1B-BDE5-4E88-88BD-BE483F6A587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753B21C-EC01-4588-B7A4-0E093E752AD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855953-E880-41D4-B584-31C7B6D1A36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22620F05-2ED2-4A5F-AF05-E62023CE309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97AE226E-2025-482C-9A66-CD353CB02E2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70323C4-586A-4D69-A6C5-7D8A1FA3CA9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46E71DBB-6182-4363-AE64-7539A03BBA0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D6D86B-CDF0-4A4C-A453-A43E7BEF1FB3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81B854FD-2EB1-428A-9A53-0B1F1DD3804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C814F05-A906-456D-9F41-B55401E2D13E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5A905C-46ED-42C2-AC2D-147B4D5929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B6B0ACB7-1351-40EB-862A-9D7508251F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7D7F2103-23D2-402D-A10A-CB712274E2D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3556101-DD16-49BE-8050-C4D1658265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C3B692D-79C9-4FA8-82F8-27DC838D400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2042A26-5AD8-4560-BACA-924021C1AE74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9372A73-0913-4C36-A27E-008757BEEA39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A05966E-E012-413F-9472-EFB21FB0B28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C323064-7B35-4CE4-9732-E094DD6042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D18E6B0-2C80-4A6A-9334-79198B00990A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</p:grpSp>
      <p:sp>
        <p:nvSpPr>
          <p:cNvPr id="148" name="2. Slide Title">
            <a:extLst>
              <a:ext uri="{FF2B5EF4-FFF2-40B4-BE49-F238E27FC236}">
                <a16:creationId xmlns:a16="http://schemas.microsoft.com/office/drawing/2014/main" id="{393E8FA7-B25F-1540-BF7C-DD366D8543CF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</a:t>
            </a:r>
          </a:p>
        </p:txBody>
      </p:sp>
      <p:sp>
        <p:nvSpPr>
          <p:cNvPr id="152" name="Slide Number">
            <a:extLst>
              <a:ext uri="{FF2B5EF4-FFF2-40B4-BE49-F238E27FC236}">
                <a16:creationId xmlns:a16="http://schemas.microsoft.com/office/drawing/2014/main" id="{26239BFF-75D9-7A4F-B46E-75A3997C9D4E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96747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AE127C8E-C2F5-604A-8AB4-5CD921F8FB3B}"/>
              </a:ext>
            </a:extLst>
          </p:cNvPr>
          <p:cNvCxnSpPr>
            <a:cxnSpLocks/>
          </p:cNvCxnSpPr>
          <p:nvPr userDrawn="1"/>
        </p:nvCxnSpPr>
        <p:spPr>
          <a:xfrm>
            <a:off x="856250" y="1159360"/>
            <a:ext cx="1250482" cy="0"/>
          </a:xfrm>
          <a:prstGeom prst="line">
            <a:avLst/>
          </a:prstGeom>
          <a:ln w="76200" cap="flat">
            <a:solidFill>
              <a:srgbClr val="FFC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17CA72F-E000-DB23-C193-287025C7EFCD}"/>
              </a:ext>
            </a:extLst>
          </p:cNvPr>
          <p:cNvSpPr txBox="1"/>
          <p:nvPr userDrawn="1"/>
        </p:nvSpPr>
        <p:spPr>
          <a:xfrm>
            <a:off x="4094480" y="651256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C5BEB3-EBF8-F2E5-EFD2-D69D8A59D204}"/>
              </a:ext>
            </a:extLst>
          </p:cNvPr>
          <p:cNvSpPr txBox="1"/>
          <p:nvPr userDrawn="1"/>
        </p:nvSpPr>
        <p:spPr>
          <a:xfrm>
            <a:off x="4414603" y="6558197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8C201B-4E4C-EB63-F61F-CD8052AB44DD}"/>
              </a:ext>
            </a:extLst>
          </p:cNvPr>
          <p:cNvSpPr txBox="1"/>
          <p:nvPr userDrawn="1"/>
        </p:nvSpPr>
        <p:spPr>
          <a:xfrm>
            <a:off x="3860800" y="64820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DF788F-34E0-4738-57D8-73388BB381E4}"/>
              </a:ext>
            </a:extLst>
          </p:cNvPr>
          <p:cNvSpPr txBox="1"/>
          <p:nvPr userDrawn="1"/>
        </p:nvSpPr>
        <p:spPr>
          <a:xfrm>
            <a:off x="1651256" y="6498754"/>
            <a:ext cx="198219" cy="1306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19F182F-C366-1E3A-4C3A-AFA0B66E5A61}"/>
              </a:ext>
            </a:extLst>
          </p:cNvPr>
          <p:cNvSpPr txBox="1"/>
          <p:nvPr userDrawn="1"/>
        </p:nvSpPr>
        <p:spPr>
          <a:xfrm>
            <a:off x="1630002" y="6498754"/>
            <a:ext cx="222673" cy="1306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4C561B-86C4-A9C2-0A79-5CB56B7FA940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557936" y="5846358"/>
            <a:ext cx="1210572" cy="93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3654" r:id="rId2"/>
    <p:sldLayoutId id="2147484418" r:id="rId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spc="40" baseline="0">
          <a:ln w="6350" cap="flat">
            <a:noFill/>
            <a:miter lim="800000"/>
          </a:ln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432" userDrawn="1">
          <p15:clr>
            <a:srgbClr val="F26B43"/>
          </p15:clr>
        </p15:guide>
        <p15:guide id="5" pos="7152" userDrawn="1">
          <p15:clr>
            <a:srgbClr val="F26B43"/>
          </p15:clr>
        </p15:guide>
        <p15:guide id="6" pos="528" userDrawn="1">
          <p15:clr>
            <a:srgbClr val="F26B43"/>
          </p15:clr>
        </p15:guide>
        <p15:guide id="8" orient="horz" pos="417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8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F187C0-BAD1-4294-8D39-769AA200A5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B304F5D-FA99-45BC-A791-89848BD1CF2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91BA5A-CE22-488D-9F34-7673F0EC7E8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3A7DAE4D-A6AE-4427-93C9-F7E236816B0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8A78C8D6-52BE-420E-B486-2CDB9872A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C23E12A-43C9-4FD1-8B88-18DF16DDB0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925F909-3BC0-4529-9432-BC5051FB7AA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AD8A7C7-1DA5-49B4-8E8F-8DB661A94A1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3D183A90-249C-406D-A4EE-CB98FF6064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82AF901-62A7-470E-AB15-F8766F13559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7EC14D5F-18E1-4D62-ACED-E5EF59199A2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A4D563B-7083-48CA-A1D9-53DCF2E7FC0C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C12A7BF8-8043-4362-88BA-45D23517B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0622DCAD-2622-4094-A7BA-19D5E80D6F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1359870-8408-4654-82A7-0514BC18566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BE70520D-7EE8-4C71-B4A5-F6C741ADC7F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EAED902-1A7E-4398-B264-ED97DDC9E57B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10604916-5E75-4614-88C9-C91C99C30CF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03E74D0-7FB6-4175-8503-9AAC28ACE2F1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CBEACB1B-BDE5-4E88-88BD-BE483F6A587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753B21C-EC01-4588-B7A4-0E093E752AD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855953-E880-41D4-B584-31C7B6D1A36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22620F05-2ED2-4A5F-AF05-E62023CE309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97AE226E-2025-482C-9A66-CD353CB02E2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70323C4-586A-4D69-A6C5-7D8A1FA3CA9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46E71DBB-6182-4363-AE64-7539A03BBA0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D6D86B-CDF0-4A4C-A453-A43E7BEF1FB3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81B854FD-2EB1-428A-9A53-0B1F1DD3804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C814F05-A906-456D-9F41-B55401E2D13E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5A905C-46ED-42C2-AC2D-147B4D5929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B6B0ACB7-1351-40EB-862A-9D7508251F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7D7F2103-23D2-402D-A10A-CB712274E2D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3556101-DD16-49BE-8050-C4D1658265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C3B692D-79C9-4FA8-82F8-27DC838D400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2042A26-5AD8-4560-BACA-924021C1AE74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9372A73-0913-4C36-A27E-008757BEEA39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A05966E-E012-413F-9472-EFB21FB0B28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C323064-7B35-4CE4-9732-E094DD6042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D18E6B0-2C80-4A6A-9334-79198B00990A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</p:grpSp>
      <p:sp>
        <p:nvSpPr>
          <p:cNvPr id="149" name="Slide Number">
            <a:extLst>
              <a:ext uri="{FF2B5EF4-FFF2-40B4-BE49-F238E27FC236}">
                <a16:creationId xmlns:a16="http://schemas.microsoft.com/office/drawing/2014/main" id="{5CD3CFCA-CA43-4D78-A103-35464A1680E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96747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44B5D-BB31-F74C-9FB9-B9A7BFB1F714}"/>
              </a:ext>
            </a:extLst>
          </p:cNvPr>
          <p:cNvCxnSpPr>
            <a:cxnSpLocks/>
          </p:cNvCxnSpPr>
          <p:nvPr userDrawn="1"/>
        </p:nvCxnSpPr>
        <p:spPr>
          <a:xfrm>
            <a:off x="5479784" y="1159360"/>
            <a:ext cx="1250482" cy="0"/>
          </a:xfrm>
          <a:prstGeom prst="line">
            <a:avLst/>
          </a:prstGeom>
          <a:ln w="76200" cap="flat">
            <a:solidFill>
              <a:srgbClr val="FFC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2E698AAA-C865-B6FE-0EF0-03DEDDA139B5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557936" y="5846358"/>
            <a:ext cx="1210572" cy="93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19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98" r:id="rId2"/>
    <p:sldLayoutId id="2147483897" r:id="rId3"/>
  </p:sldLayoutIdLst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spc="40" baseline="0">
          <a:ln w="6350" cap="flat">
            <a:noFill/>
            <a:miter lim="800000"/>
          </a:ln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432" userDrawn="1">
          <p15:clr>
            <a:srgbClr val="F26B43"/>
          </p15:clr>
        </p15:guide>
        <p15:guide id="5" pos="7152" userDrawn="1">
          <p15:clr>
            <a:srgbClr val="F26B43"/>
          </p15:clr>
        </p15:guide>
        <p15:guide id="6" pos="528" userDrawn="1">
          <p15:clr>
            <a:srgbClr val="F26B43"/>
          </p15:clr>
        </p15:guide>
        <p15:guide id="8" orient="horz" pos="41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40507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13" imgH="416" progId="TCLayout.ActiveDocument.1">
                  <p:embed/>
                </p:oleObj>
              </mc:Choice>
              <mc:Fallback>
                <p:oleObj name="think-cell Slide" r:id="rId25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8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F187C0-BAD1-4294-8D39-769AA200A5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B304F5D-FA99-45BC-A791-89848BD1CF2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91BA5A-CE22-488D-9F34-7673F0EC7E8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3A7DAE4D-A6AE-4427-93C9-F7E236816B0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8A78C8D6-52BE-420E-B486-2CDB9872A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C23E12A-43C9-4FD1-8B88-18DF16DDB0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925F909-3BC0-4529-9432-BC5051FB7AA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AD8A7C7-1DA5-49B4-8E8F-8DB661A94A1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3D183A90-249C-406D-A4EE-CB98FF6064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82AF901-62A7-470E-AB15-F8766F13559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7EC14D5F-18E1-4D62-ACED-E5EF59199A2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A4D563B-7083-48CA-A1D9-53DCF2E7FC0C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C12A7BF8-8043-4362-88BA-45D23517B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0622DCAD-2622-4094-A7BA-19D5E80D6FA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1359870-8408-4654-82A7-0514BC185669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BE70520D-7EE8-4C71-B4A5-F6C741ADC7F6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EAED902-1A7E-4398-B264-ED97DDC9E57B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10604916-5E75-4614-88C9-C91C99C30CF1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03E74D0-7FB6-4175-8503-9AAC28ACE2F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CBEACB1B-BDE5-4E88-88BD-BE483F6A5877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753B21C-EC01-4588-B7A4-0E093E752AD0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855953-E880-41D4-B584-31C7B6D1A366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22620F05-2ED2-4A5F-AF05-E62023CE309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97AE226E-2025-482C-9A66-CD353CB02E29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70323C4-586A-4D69-A6C5-7D8A1FA3CA96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46E71DBB-6182-4363-AE64-7539A03BBA0C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D6D86B-CDF0-4A4C-A453-A43E7BEF1FB3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81B854FD-2EB1-428A-9A53-0B1F1DD38046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C814F05-A906-456D-9F41-B55401E2D13E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5A905C-46ED-42C2-AC2D-147B4D5929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B6B0ACB7-1351-40EB-862A-9D7508251F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7D7F2103-23D2-402D-A10A-CB712274E2D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3556101-DD16-49BE-8050-C4D1658265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C3B692D-79C9-4FA8-82F8-27DC838D400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2042A26-5AD8-4560-BACA-924021C1AE74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9372A73-0913-4C36-A27E-008757BEEA39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A05966E-E012-413F-9472-EFB21FB0B28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C323064-7B35-4CE4-9732-E094DD6042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D18E6B0-2C80-4A6A-9334-79198B00990A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</p:grpSp>
      <p:sp>
        <p:nvSpPr>
          <p:cNvPr id="148" name="2. Slide Title">
            <a:extLst>
              <a:ext uri="{FF2B5EF4-FFF2-40B4-BE49-F238E27FC236}">
                <a16:creationId xmlns:a16="http://schemas.microsoft.com/office/drawing/2014/main" id="{393E8FA7-B25F-1540-BF7C-DD366D8543C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</a:t>
            </a:r>
          </a:p>
        </p:txBody>
      </p:sp>
      <p:sp>
        <p:nvSpPr>
          <p:cNvPr id="152" name="Slide Number">
            <a:extLst>
              <a:ext uri="{FF2B5EF4-FFF2-40B4-BE49-F238E27FC236}">
                <a16:creationId xmlns:a16="http://schemas.microsoft.com/office/drawing/2014/main" id="{26239BFF-75D9-7A4F-B46E-75A3997C9D4E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96747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AE127C8E-C2F5-604A-8AB4-5CD921F8FB3B}"/>
              </a:ext>
            </a:extLst>
          </p:cNvPr>
          <p:cNvCxnSpPr>
            <a:cxnSpLocks/>
          </p:cNvCxnSpPr>
          <p:nvPr userDrawn="1"/>
        </p:nvCxnSpPr>
        <p:spPr>
          <a:xfrm>
            <a:off x="856250" y="1159360"/>
            <a:ext cx="1250482" cy="0"/>
          </a:xfrm>
          <a:prstGeom prst="line">
            <a:avLst/>
          </a:prstGeom>
          <a:ln w="76200" cap="flat">
            <a:solidFill>
              <a:srgbClr val="FFC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217CA72F-E000-DB23-C193-287025C7EFCD}"/>
              </a:ext>
            </a:extLst>
          </p:cNvPr>
          <p:cNvSpPr txBox="1"/>
          <p:nvPr userDrawn="1"/>
        </p:nvSpPr>
        <p:spPr>
          <a:xfrm>
            <a:off x="4094480" y="651256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C5BEB3-EBF8-F2E5-EFD2-D69D8A59D204}"/>
              </a:ext>
            </a:extLst>
          </p:cNvPr>
          <p:cNvSpPr txBox="1"/>
          <p:nvPr userDrawn="1"/>
        </p:nvSpPr>
        <p:spPr>
          <a:xfrm>
            <a:off x="4414603" y="6558197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8C201B-4E4C-EB63-F61F-CD8052AB44DD}"/>
              </a:ext>
            </a:extLst>
          </p:cNvPr>
          <p:cNvSpPr txBox="1"/>
          <p:nvPr userDrawn="1"/>
        </p:nvSpPr>
        <p:spPr>
          <a:xfrm>
            <a:off x="3860800" y="648208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DF788F-34E0-4738-57D8-73388BB381E4}"/>
              </a:ext>
            </a:extLst>
          </p:cNvPr>
          <p:cNvSpPr txBox="1"/>
          <p:nvPr userDrawn="1"/>
        </p:nvSpPr>
        <p:spPr>
          <a:xfrm>
            <a:off x="1651256" y="6498754"/>
            <a:ext cx="198219" cy="1306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19F182F-C366-1E3A-4C3A-AFA0B66E5A61}"/>
              </a:ext>
            </a:extLst>
          </p:cNvPr>
          <p:cNvSpPr txBox="1"/>
          <p:nvPr userDrawn="1"/>
        </p:nvSpPr>
        <p:spPr>
          <a:xfrm>
            <a:off x="1630002" y="6498754"/>
            <a:ext cx="222673" cy="13064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D717E2-4D1E-9E8B-F6CB-22C32A6B6658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557936" y="5846358"/>
            <a:ext cx="1210572" cy="93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08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spc="40" baseline="0">
          <a:ln w="6350" cap="flat">
            <a:noFill/>
            <a:miter lim="800000"/>
          </a:ln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432" userDrawn="1">
          <p15:clr>
            <a:srgbClr val="F26B43"/>
          </p15:clr>
        </p15:guide>
        <p15:guide id="5" pos="7152" userDrawn="1">
          <p15:clr>
            <a:srgbClr val="F26B43"/>
          </p15:clr>
        </p15:guide>
        <p15:guide id="6" pos="528" userDrawn="1">
          <p15:clr>
            <a:srgbClr val="F26B43"/>
          </p15:clr>
        </p15:guide>
        <p15:guide id="8" orient="horz" pos="4176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856250" y="702424"/>
            <a:ext cx="10497550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8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>
                <a:latin typeface="+mj-lt"/>
              </a:defRPr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latin typeface="+mj-lt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AF187C0-BAD1-4294-8D39-769AA200A5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B304F5D-FA99-45BC-A791-89848BD1CF2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3A91BA5A-CE22-488D-9F34-7673F0EC7E81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3A7DAE4D-A6AE-4427-93C9-F7E236816B06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8A78C8D6-52BE-420E-B486-2CDB9872A80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CC23E12A-43C9-4FD1-8B88-18DF16DDB09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8925F909-3BC0-4529-9432-BC5051FB7AA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j-lt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3AD8A7C7-1DA5-49B4-8E8F-8DB661A94A1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3D183A90-249C-406D-A4EE-CB98FF606400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82AF901-62A7-470E-AB15-F8766F13559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7EC14D5F-18E1-4D62-ACED-E5EF59199A2E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A4D563B-7083-48CA-A1D9-53DCF2E7FC0C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C12A7BF8-8043-4362-88BA-45D23517B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0622DCAD-2622-4094-A7BA-19D5E80D6FA9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1359870-8408-4654-82A7-0514BC18566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BE70520D-7EE8-4C71-B4A5-F6C741ADC7F6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6EAED902-1A7E-4398-B264-ED97DDC9E57B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10604916-5E75-4614-88C9-C91C99C30CF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03E74D0-7FB6-4175-8503-9AAC28ACE2F1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CBEACB1B-BDE5-4E88-88BD-BE483F6A587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A753B21C-EC01-4588-B7A4-0E093E752AD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37855953-E880-41D4-B584-31C7B6D1A366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22620F05-2ED2-4A5F-AF05-E62023CE309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97AE226E-2025-482C-9A66-CD353CB02E29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70323C4-586A-4D69-A6C5-7D8A1FA3CA9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46E71DBB-6182-4363-AE64-7539A03BBA0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D6D86B-CDF0-4A4C-A453-A43E7BEF1FB3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81B854FD-2EB1-428A-9A53-0B1F1DD3804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+mj-lt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C814F05-A906-456D-9F41-B55401E2D13E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E5A905C-46ED-42C2-AC2D-147B4D592918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B6B0ACB7-1351-40EB-862A-9D7508251F6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7D7F2103-23D2-402D-A10A-CB712274E2D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3556101-DD16-49BE-8050-C4D1658265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DC3B692D-79C9-4FA8-82F8-27DC838D4008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2042A26-5AD8-4560-BACA-924021C1AE74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79372A73-0913-4C36-A27E-008757BEEA39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A05966E-E012-413F-9472-EFB21FB0B28D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7C323064-7B35-4CE4-9732-E094DD604246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FD18E6B0-2C80-4A6A-9334-79198B00990A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>
                  <a:latin typeface="+mj-lt"/>
                </a:rPr>
                <a:t>Legend</a:t>
              </a:r>
            </a:p>
          </p:txBody>
        </p:sp>
      </p:grpSp>
      <p:sp>
        <p:nvSpPr>
          <p:cNvPr id="149" name="Slide Number">
            <a:extLst>
              <a:ext uri="{FF2B5EF4-FFF2-40B4-BE49-F238E27FC236}">
                <a16:creationId xmlns:a16="http://schemas.microsoft.com/office/drawing/2014/main" id="{5CD3CFCA-CA43-4D78-A103-35464A1680E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11396747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2944B5D-BB31-F74C-9FB9-B9A7BFB1F714}"/>
              </a:ext>
            </a:extLst>
          </p:cNvPr>
          <p:cNvCxnSpPr>
            <a:cxnSpLocks/>
          </p:cNvCxnSpPr>
          <p:nvPr userDrawn="1"/>
        </p:nvCxnSpPr>
        <p:spPr>
          <a:xfrm>
            <a:off x="5479784" y="1159360"/>
            <a:ext cx="1250482" cy="0"/>
          </a:xfrm>
          <a:prstGeom prst="line">
            <a:avLst/>
          </a:prstGeom>
          <a:ln w="76200" cap="flat">
            <a:solidFill>
              <a:srgbClr val="FFC000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C26BEC2A-69D7-7BD4-4CA8-D97BF7DE3DC5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557936" y="5846358"/>
            <a:ext cx="1210572" cy="935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787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  <p:sldLayoutId id="2147484413" r:id="rId3"/>
  </p:sldLayoutIdLst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cap="all" spc="40" baseline="0">
          <a:ln w="6350" cap="flat">
            <a:noFill/>
            <a:miter lim="800000"/>
          </a:ln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•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800" kern="1200" baseline="0" dirty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 userDrawn="1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432" userDrawn="1">
          <p15:clr>
            <a:srgbClr val="F26B43"/>
          </p15:clr>
        </p15:guide>
        <p15:guide id="5" pos="7152" userDrawn="1">
          <p15:clr>
            <a:srgbClr val="F26B43"/>
          </p15:clr>
        </p15:guide>
        <p15:guide id="6" pos="528" userDrawn="1">
          <p15:clr>
            <a:srgbClr val="F26B43"/>
          </p15:clr>
        </p15:guide>
        <p15:guide id="8" orient="horz" pos="41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960F8-E694-11B7-C013-CBF036F4A31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Introducing</a:t>
            </a:r>
            <a:br>
              <a:rPr lang="en-US" b="1" dirty="0"/>
            </a:br>
            <a:r>
              <a:rPr lang="en-US" b="1" dirty="0"/>
              <a:t>Assignment: Eart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7155F89-E77D-5F28-BE12-C36D6968E7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aculty Senate</a:t>
            </a:r>
          </a:p>
          <a:p>
            <a:r>
              <a:rPr lang="en-US" dirty="0"/>
              <a:t>October 19, 2022</a:t>
            </a:r>
          </a:p>
        </p:txBody>
      </p:sp>
    </p:spTree>
    <p:extLst>
      <p:ext uri="{BB962C8B-B14F-4D97-AF65-F5344CB8AC3E}">
        <p14:creationId xmlns:p14="http://schemas.microsoft.com/office/powerpoint/2010/main" val="39841724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338554"/>
          </a:xfrm>
        </p:spPr>
        <p:txBody>
          <a:bodyPr/>
          <a:lstStyle/>
          <a:p>
            <a:r>
              <a:rPr lang="en-US" dirty="0"/>
              <a:t>Research Focus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10B68B63-3A21-8376-A103-34C99759A8FB}"/>
              </a:ext>
            </a:extLst>
          </p:cNvPr>
          <p:cNvSpPr txBox="1">
            <a:spLocks/>
          </p:cNvSpPr>
          <p:nvPr/>
        </p:nvSpPr>
        <p:spPr>
          <a:xfrm>
            <a:off x="609600" y="1412703"/>
            <a:ext cx="8839200" cy="403259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dirty="0"/>
              <a:t>With the goal of doubling university’s research volume by 2028, we envision::</a:t>
            </a:r>
          </a:p>
          <a:p>
            <a:pPr>
              <a:buNone/>
            </a:pPr>
            <a:endParaRPr lang="en-US" sz="2000" i="1" dirty="0">
              <a:solidFill>
                <a:srgbClr val="FF0000"/>
              </a:solidFill>
            </a:endParaRPr>
          </a:p>
          <a:p>
            <a:pPr>
              <a:buNone/>
            </a:pPr>
            <a:r>
              <a:rPr lang="en-US" sz="2000" i="1">
                <a:solidFill>
                  <a:srgbClr val="FF0000"/>
                </a:solidFill>
              </a:rPr>
              <a:t>Coalescing </a:t>
            </a:r>
            <a:r>
              <a:rPr lang="en-US" sz="2000" i="1" dirty="0">
                <a:solidFill>
                  <a:srgbClr val="FF0000"/>
                </a:solidFill>
              </a:rPr>
              <a:t>multidisciplinary teams around high-impact themes, such as:</a:t>
            </a:r>
            <a:endParaRPr lang="en-US" sz="2000" dirty="0"/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Human health and well-being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Infrastructure and the built environment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Natural environment and ecosystem services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Communications, policy, and institutions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Risk analysis and economic impacts</a:t>
            </a:r>
          </a:p>
          <a:p>
            <a:pPr>
              <a:buNone/>
            </a:pPr>
            <a:endParaRPr lang="en-US" sz="2000" dirty="0"/>
          </a:p>
          <a:p>
            <a:pPr>
              <a:buNone/>
            </a:pPr>
            <a:r>
              <a:rPr lang="en-US" sz="2000" i="1" dirty="0">
                <a:solidFill>
                  <a:srgbClr val="FF0000"/>
                </a:solidFill>
              </a:rPr>
              <a:t>Developing enabling processes and programs, such as: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Post-doctoral and graduate fellowships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Seed-funding for team-based research and innovation projects</a:t>
            </a:r>
          </a:p>
          <a:p>
            <a:pPr marL="571500" lvl="1" indent="-342900">
              <a:buFont typeface="Arial" panose="020B0604020202020204" pitchFamily="34" charset="0"/>
              <a:buChar char="•"/>
            </a:pPr>
            <a:r>
              <a:rPr lang="en-US" dirty="0"/>
              <a:t>Faculty hiring to address gaps and emphasize strengths</a:t>
            </a:r>
          </a:p>
          <a:p>
            <a:pPr>
              <a:buNone/>
            </a:pPr>
            <a:endParaRPr lang="en-US" sz="2000" dirty="0"/>
          </a:p>
        </p:txBody>
      </p:sp>
      <p:pic>
        <p:nvPicPr>
          <p:cNvPr id="9" name="Picture 8" descr="Timeline&#10;&#10;Description automatically generated">
            <a:extLst>
              <a:ext uri="{FF2B5EF4-FFF2-40B4-BE49-F238E27FC236}">
                <a16:creationId xmlns:a16="http://schemas.microsoft.com/office/drawing/2014/main" id="{8F098568-B1F6-3C64-AA51-5C70471C48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404" t="10918" r="76525" b="51111"/>
          <a:stretch/>
        </p:blipFill>
        <p:spPr>
          <a:xfrm>
            <a:off x="9296400" y="587997"/>
            <a:ext cx="2438400" cy="5889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2892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18A137-9BB3-0661-5C74-AD2DF7D05C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4524" y="1447800"/>
            <a:ext cx="8126596" cy="44227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Umbrella framework that embraces the full breadth and scope of USC sustainability eff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Developed by 100+ faculty, students, and staff across USC through the President’s Working Group on Sustain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Key presidential priority that is core to our academic and administrative operations going forward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ignment: earth</a:t>
            </a:r>
          </a:p>
        </p:txBody>
      </p:sp>
      <p:pic>
        <p:nvPicPr>
          <p:cNvPr id="6" name="Picture 5" descr="Timeline&#10;&#10;Description automatically generated">
            <a:extLst>
              <a:ext uri="{FF2B5EF4-FFF2-40B4-BE49-F238E27FC236}">
                <a16:creationId xmlns:a16="http://schemas.microsoft.com/office/drawing/2014/main" id="{7F457627-D129-B478-3466-2AC663613D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240" t="50164" r="62880" b="11111"/>
          <a:stretch/>
        </p:blipFill>
        <p:spPr>
          <a:xfrm>
            <a:off x="9144000" y="609600"/>
            <a:ext cx="2590800" cy="60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244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18A137-9BB3-0661-5C74-AD2DF7D05C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4524" y="1447800"/>
            <a:ext cx="8126596" cy="44227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At USC, sustainability is understood through the lens of deep disciplinary expertise and broad, inter-disciplinary, inclusionary problem-solv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Guiding Principle: climate change and sustainability affect all aspects of human life and natural systems, and as a result, every discipline contributes to this education and research effo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everyone is needed	</a:t>
            </a:r>
          </a:p>
        </p:txBody>
      </p:sp>
      <p:pic>
        <p:nvPicPr>
          <p:cNvPr id="6" name="Picture 5" descr="Timeline&#10;&#10;Description automatically generated">
            <a:extLst>
              <a:ext uri="{FF2B5EF4-FFF2-40B4-BE49-F238E27FC236}">
                <a16:creationId xmlns:a16="http://schemas.microsoft.com/office/drawing/2014/main" id="{7F457627-D129-B478-3466-2AC663613DC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240" t="50164" r="62880" b="11111"/>
          <a:stretch/>
        </p:blipFill>
        <p:spPr>
          <a:xfrm>
            <a:off x="9144000" y="609600"/>
            <a:ext cx="2590800" cy="60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9328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850" y="703389"/>
            <a:ext cx="10345150" cy="338554"/>
          </a:xfrm>
        </p:spPr>
        <p:txBody>
          <a:bodyPr/>
          <a:lstStyle/>
          <a:p>
            <a:r>
              <a:rPr lang="en-US" dirty="0"/>
              <a:t>Assignment: earth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83937C6-2D62-4ACE-8EFD-AAD6F093F9BB}"/>
              </a:ext>
            </a:extLst>
          </p:cNvPr>
          <p:cNvGrpSpPr/>
          <p:nvPr/>
        </p:nvGrpSpPr>
        <p:grpSpPr>
          <a:xfrm>
            <a:off x="990600" y="1600200"/>
            <a:ext cx="7421320" cy="4022459"/>
            <a:chOff x="609600" y="1417771"/>
            <a:chExt cx="7421320" cy="4022459"/>
          </a:xfrm>
        </p:grpSpPr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80476BD3-81F7-B932-C1E2-F6874402E7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1417771"/>
              <a:ext cx="6781800" cy="402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FAA58178-797C-BC90-652A-4D4C0076AE85}"/>
                </a:ext>
              </a:extLst>
            </p:cNvPr>
            <p:cNvSpPr/>
            <p:nvPr/>
          </p:nvSpPr>
          <p:spPr>
            <a:xfrm rot="941797">
              <a:off x="3734853" y="2759498"/>
              <a:ext cx="4296067" cy="381000"/>
            </a:xfrm>
            <a:prstGeom prst="rect">
              <a:avLst/>
            </a:pr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F97113BF-1E5A-D45E-D67E-DB3CFC55DB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315200" y="2322512"/>
            <a:ext cx="4653477" cy="2212976"/>
          </a:xfrm>
        </p:spPr>
        <p:txBody>
          <a:bodyPr/>
          <a:lstStyle/>
          <a:p>
            <a:pPr>
              <a:buNone/>
            </a:pPr>
            <a:r>
              <a:rPr lang="en-US" sz="2400" i="1" dirty="0"/>
              <a:t>Each of the pillars of A:E has a home in every school across campus</a:t>
            </a:r>
          </a:p>
        </p:txBody>
      </p:sp>
    </p:spTree>
    <p:extLst>
      <p:ext uri="{BB962C8B-B14F-4D97-AF65-F5344CB8AC3E}">
        <p14:creationId xmlns:p14="http://schemas.microsoft.com/office/powerpoint/2010/main" val="1285582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18A137-9BB3-0661-5C74-AD2DF7D05C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2923" y="1379532"/>
            <a:ext cx="8077200" cy="39655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Double sustainability research by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FF0000"/>
                </a:solidFill>
              </a:rPr>
              <a:t>Increase sustainability courses by 10 each year, as well as add new majors, minors, and certifica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Climate neutrality by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Zero waste by 202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20% water reduction by 2028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677108"/>
          </a:xfrm>
        </p:spPr>
        <p:txBody>
          <a:bodyPr/>
          <a:lstStyle/>
          <a:p>
            <a:r>
              <a:rPr lang="en-US" dirty="0"/>
              <a:t>Assignment: earth key goals</a:t>
            </a:r>
            <a:br>
              <a:rPr lang="en-US" sz="2400" dirty="0"/>
            </a:br>
            <a:endParaRPr lang="en-US" dirty="0"/>
          </a:p>
        </p:txBody>
      </p:sp>
      <p:pic>
        <p:nvPicPr>
          <p:cNvPr id="7" name="Picture 6" descr="Timeline&#10;&#10;Description automatically generated">
            <a:extLst>
              <a:ext uri="{FF2B5EF4-FFF2-40B4-BE49-F238E27FC236}">
                <a16:creationId xmlns:a16="http://schemas.microsoft.com/office/drawing/2014/main" id="{2C5B5EC5-FC97-D046-1CEC-D62C8E99B0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099" t="10808" r="62021" b="51111"/>
          <a:stretch/>
        </p:blipFill>
        <p:spPr>
          <a:xfrm>
            <a:off x="9220200" y="609600"/>
            <a:ext cx="2514600" cy="5745480"/>
          </a:xfrm>
          <a:prstGeom prst="rect">
            <a:avLst/>
          </a:prstGeom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2FCAFB2D-F118-9DB0-6C7C-B32C40FE2840}"/>
              </a:ext>
            </a:extLst>
          </p:cNvPr>
          <p:cNvSpPr txBox="1">
            <a:spLocks/>
          </p:cNvSpPr>
          <p:nvPr/>
        </p:nvSpPr>
        <p:spPr>
          <a:xfrm>
            <a:off x="1524000" y="4648200"/>
            <a:ext cx="5410200" cy="381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400" i="1" dirty="0"/>
              <a:t>See all goals at: </a:t>
            </a:r>
            <a:r>
              <a:rPr lang="en-US" sz="2400" u="sng" dirty="0"/>
              <a:t>Sustainability.usc.edu</a:t>
            </a:r>
          </a:p>
        </p:txBody>
      </p:sp>
    </p:spTree>
    <p:extLst>
      <p:ext uri="{BB962C8B-B14F-4D97-AF65-F5344CB8AC3E}">
        <p14:creationId xmlns:p14="http://schemas.microsoft.com/office/powerpoint/2010/main" val="460749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677108"/>
          </a:xfrm>
        </p:spPr>
        <p:txBody>
          <a:bodyPr/>
          <a:lstStyle/>
          <a:p>
            <a:r>
              <a:rPr lang="en-US" dirty="0"/>
              <a:t>Assignment: earth and you</a:t>
            </a:r>
            <a:br>
              <a:rPr lang="en-US" sz="2400" dirty="0"/>
            </a:br>
            <a:endParaRPr lang="en-US" dirty="0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10B68B63-3A21-8376-A103-34C99759A8FB}"/>
              </a:ext>
            </a:extLst>
          </p:cNvPr>
          <p:cNvSpPr txBox="1">
            <a:spLocks/>
          </p:cNvSpPr>
          <p:nvPr/>
        </p:nvSpPr>
        <p:spPr>
          <a:xfrm>
            <a:off x="762000" y="1219200"/>
            <a:ext cx="8305800" cy="403259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2000" dirty="0"/>
              <a:t>Your partnership and support are critical to reaching A:E go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articipating in the </a:t>
            </a:r>
            <a:r>
              <a:rPr lang="en-US" sz="2000" b="1" dirty="0"/>
              <a:t>Sustainability Across the Curriculum (SACI) program </a:t>
            </a:r>
            <a:r>
              <a:rPr lang="en-US" sz="2000" dirty="0"/>
              <a:t>and encouraging other faculty to take advantage of SACI </a:t>
            </a:r>
            <a:r>
              <a:rPr lang="en-US" sz="2000" b="1" dirty="0"/>
              <a:t>grants*</a:t>
            </a:r>
            <a:r>
              <a:rPr lang="en-US" sz="20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eveloping new interdisciplinary sustainability minors, majors, certificates, seminars, micro-seminars, guest le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upporting hiring of faculty with sustainability knowle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eveloping interdisciplinary sustainability research propos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articipating as a faculty mentor of Sustainability Postdoc Fello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Encouraging and adopting use of support tools such as the Sustainability Data Hub, UN SDG course search tool, Open Access Research Initiative, student sustainability online training, sustainability faculty directory</a:t>
            </a:r>
          </a:p>
          <a:p>
            <a:pPr>
              <a:buNone/>
            </a:pPr>
            <a:endParaRPr lang="en-US" sz="2000" dirty="0"/>
          </a:p>
        </p:txBody>
      </p:sp>
      <p:pic>
        <p:nvPicPr>
          <p:cNvPr id="9" name="Picture 8" descr="Timeline&#10;&#10;Description automatically generated">
            <a:extLst>
              <a:ext uri="{FF2B5EF4-FFF2-40B4-BE49-F238E27FC236}">
                <a16:creationId xmlns:a16="http://schemas.microsoft.com/office/drawing/2014/main" id="{8F098568-B1F6-3C64-AA51-5C70471C48B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404" t="10918" r="76525" b="51111"/>
          <a:stretch/>
        </p:blipFill>
        <p:spPr>
          <a:xfrm>
            <a:off x="9296400" y="587997"/>
            <a:ext cx="2438400" cy="58890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E22F1EF-16EA-1293-5AF7-2DDB9C3EC363}"/>
              </a:ext>
            </a:extLst>
          </p:cNvPr>
          <p:cNvSpPr txBox="1"/>
          <p:nvPr/>
        </p:nvSpPr>
        <p:spPr>
          <a:xfrm>
            <a:off x="1828800" y="6155576"/>
            <a:ext cx="7010400" cy="9144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100" dirty="0"/>
              <a:t>* SACI info located at https://</a:t>
            </a:r>
            <a:r>
              <a:rPr lang="en-US" sz="1100" dirty="0" err="1"/>
              <a:t>dornsife-wrigley.usc.edu</a:t>
            </a:r>
            <a:r>
              <a:rPr lang="en-US" sz="1100" dirty="0"/>
              <a:t>/education/sustainability-across-the-curriculum-initiative/</a:t>
            </a:r>
          </a:p>
        </p:txBody>
      </p:sp>
    </p:spTree>
    <p:extLst>
      <p:ext uri="{BB962C8B-B14F-4D97-AF65-F5344CB8AC3E}">
        <p14:creationId xmlns:p14="http://schemas.microsoft.com/office/powerpoint/2010/main" val="425933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E18A137-9BB3-0661-5C74-AD2DF7D05C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2000" y="1447800"/>
            <a:ext cx="8153400" cy="39655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17,000 students enrolled in sustainability cour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ustainability Solutions Post-doctoral Fellowship program laun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ustainability seed grants through Office of Resear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25MW solar agreement with LADWP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dirty="0"/>
              <a:t>Provides 25% of USC electricity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dirty="0"/>
              <a:t>Reduces USC emissions by about 20%</a:t>
            </a:r>
          </a:p>
          <a:p>
            <a:pPr marL="514350" lvl="1" indent="-285750">
              <a:buFont typeface="Arial" panose="020B0604020202020204" pitchFamily="34" charset="0"/>
              <a:buChar char="•"/>
            </a:pPr>
            <a:r>
              <a:rPr lang="en-US" dirty="0"/>
              <a:t>Will make renewable energy sources more accessible and affordable for residents and businesses surrounding USC’s campu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ingle-use plastic bottle elim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ASHE STARS Silver ra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ustainable Design and Construction Guide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thletics three-time champions of PAC-12 Zero Waste Challe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untry’s first campus “green zone” – certified by American Zone Allian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250" y="702424"/>
            <a:ext cx="9811750" cy="677108"/>
          </a:xfrm>
        </p:spPr>
        <p:txBody>
          <a:bodyPr/>
          <a:lstStyle/>
          <a:p>
            <a:r>
              <a:rPr lang="en-US" dirty="0"/>
              <a:t>Assignment: earth recent achievements</a:t>
            </a:r>
            <a:br>
              <a:rPr lang="en-US" sz="2400" dirty="0"/>
            </a:br>
            <a:endParaRPr lang="en-US" dirty="0"/>
          </a:p>
        </p:txBody>
      </p:sp>
      <p:pic>
        <p:nvPicPr>
          <p:cNvPr id="7" name="Picture 6" descr="Timeline&#10;&#10;Description automatically generated">
            <a:extLst>
              <a:ext uri="{FF2B5EF4-FFF2-40B4-BE49-F238E27FC236}">
                <a16:creationId xmlns:a16="http://schemas.microsoft.com/office/drawing/2014/main" id="{20987CD5-5543-7C58-C07F-55FD3B98B95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1717" t="10969" r="36262" b="51110"/>
          <a:stretch/>
        </p:blipFill>
        <p:spPr>
          <a:xfrm>
            <a:off x="9296400" y="609600"/>
            <a:ext cx="2362200" cy="575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376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4899AD48-DC4C-6156-4AF2-0A475D0B0EE7}"/>
              </a:ext>
            </a:extLst>
          </p:cNvPr>
          <p:cNvSpPr txBox="1">
            <a:spLocks/>
          </p:cNvSpPr>
          <p:nvPr/>
        </p:nvSpPr>
        <p:spPr>
          <a:xfrm>
            <a:off x="3168534" y="5410200"/>
            <a:ext cx="5823065" cy="381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2400" u="sng" dirty="0"/>
              <a:t>Sustainability.usc.edu</a:t>
            </a:r>
          </a:p>
        </p:txBody>
      </p:sp>
    </p:spTree>
    <p:extLst>
      <p:ext uri="{BB962C8B-B14F-4D97-AF65-F5344CB8AC3E}">
        <p14:creationId xmlns:p14="http://schemas.microsoft.com/office/powerpoint/2010/main" val="28063118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95ADEA-FE04-022B-D65E-83746FF172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4899AD48-DC4C-6156-4AF2-0A475D0B0EE7}"/>
              </a:ext>
            </a:extLst>
          </p:cNvPr>
          <p:cNvSpPr txBox="1">
            <a:spLocks/>
          </p:cNvSpPr>
          <p:nvPr/>
        </p:nvSpPr>
        <p:spPr>
          <a:xfrm>
            <a:off x="3168534" y="5410200"/>
            <a:ext cx="5823065" cy="381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>
              <a:buNone/>
            </a:pPr>
            <a:r>
              <a:rPr lang="en-US" sz="2400" u="sng" dirty="0"/>
              <a:t>Sustainability.usc.edu</a:t>
            </a:r>
          </a:p>
        </p:txBody>
      </p:sp>
    </p:spTree>
    <p:extLst>
      <p:ext uri="{BB962C8B-B14F-4D97-AF65-F5344CB8AC3E}">
        <p14:creationId xmlns:p14="http://schemas.microsoft.com/office/powerpoint/2010/main" val="2270886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EMPLATELASTEDITED" val="2020-03-05 10:17 PM"/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MTBTACCENT" val="Accen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White">
  <a:themeElements>
    <a:clrScheme name="Custom 3">
      <a:dk1>
        <a:srgbClr val="333333"/>
      </a:dk1>
      <a:lt1>
        <a:srgbClr val="FFFFFF"/>
      </a:lt1>
      <a:dk2>
        <a:srgbClr val="FFFFFF"/>
      </a:dk2>
      <a:lt2>
        <a:srgbClr val="D1D1D1"/>
      </a:lt2>
      <a:accent1>
        <a:srgbClr val="A22424"/>
      </a:accent1>
      <a:accent2>
        <a:srgbClr val="8E8E8E"/>
      </a:accent2>
      <a:accent3>
        <a:srgbClr val="540000"/>
      </a:accent3>
      <a:accent4>
        <a:srgbClr val="D1D1D1"/>
      </a:accent4>
      <a:accent5>
        <a:srgbClr val="C02222"/>
      </a:accent5>
      <a:accent6>
        <a:srgbClr val="FFC000"/>
      </a:accent6>
      <a:hlink>
        <a:srgbClr val="000099"/>
      </a:hlink>
      <a:folHlink>
        <a:srgbClr val="66006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333333"/>
        </a:dk1>
        <a:lt1>
          <a:srgbClr val="FFFFFF"/>
        </a:lt1>
        <a:dk2>
          <a:srgbClr val="FFFFFF"/>
        </a:dk2>
        <a:lt2>
          <a:srgbClr val="EFBCB3"/>
        </a:lt2>
        <a:accent1>
          <a:srgbClr val="A22424"/>
        </a:accent1>
        <a:accent2>
          <a:srgbClr val="D2452E"/>
        </a:accent2>
        <a:accent3>
          <a:srgbClr val="540000"/>
        </a:accent3>
        <a:accent4>
          <a:srgbClr val="D1D1D1"/>
        </a:accent4>
        <a:accent5>
          <a:srgbClr val="8E8E8E"/>
        </a:accent5>
        <a:accent6>
          <a:srgbClr val="FFC0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V0942_template_v2.potx" id="{C4D3070D-B9C1-4F0B-A63A-F960612DE9CF}" vid="{F998C308-FAC4-4A5C-AB06-BA0FA07730E8}"/>
    </a:ext>
  </a:extLst>
</a:theme>
</file>

<file path=ppt/theme/theme4.xml><?xml version="1.0" encoding="utf-8"?>
<a:theme xmlns:a="http://schemas.openxmlformats.org/drawingml/2006/main" name="White">
  <a:themeElements>
    <a:clrScheme name="Custom 3">
      <a:dk1>
        <a:srgbClr val="333333"/>
      </a:dk1>
      <a:lt1>
        <a:srgbClr val="FFFFFF"/>
      </a:lt1>
      <a:dk2>
        <a:srgbClr val="FFFFFF"/>
      </a:dk2>
      <a:lt2>
        <a:srgbClr val="D1D1D1"/>
      </a:lt2>
      <a:accent1>
        <a:srgbClr val="A22424"/>
      </a:accent1>
      <a:accent2>
        <a:srgbClr val="8E8E8E"/>
      </a:accent2>
      <a:accent3>
        <a:srgbClr val="540000"/>
      </a:accent3>
      <a:accent4>
        <a:srgbClr val="D1D1D1"/>
      </a:accent4>
      <a:accent5>
        <a:srgbClr val="C02222"/>
      </a:accent5>
      <a:accent6>
        <a:srgbClr val="FFC000"/>
      </a:accent6>
      <a:hlink>
        <a:srgbClr val="000099"/>
      </a:hlink>
      <a:folHlink>
        <a:srgbClr val="66006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333333"/>
        </a:dk1>
        <a:lt1>
          <a:srgbClr val="FFFFFF"/>
        </a:lt1>
        <a:dk2>
          <a:srgbClr val="FFFFFF"/>
        </a:dk2>
        <a:lt2>
          <a:srgbClr val="EFBCB3"/>
        </a:lt2>
        <a:accent1>
          <a:srgbClr val="A22424"/>
        </a:accent1>
        <a:accent2>
          <a:srgbClr val="D2452E"/>
        </a:accent2>
        <a:accent3>
          <a:srgbClr val="540000"/>
        </a:accent3>
        <a:accent4>
          <a:srgbClr val="D1D1D1"/>
        </a:accent4>
        <a:accent5>
          <a:srgbClr val="8E8E8E"/>
        </a:accent5>
        <a:accent6>
          <a:srgbClr val="FFC0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V0942_template_v2.potx" id="{C4D3070D-B9C1-4F0B-A63A-F960612DE9CF}" vid="{F998C308-FAC4-4A5C-AB06-BA0FA07730E8}"/>
    </a:ext>
  </a:extLst>
</a:theme>
</file>

<file path=ppt/theme/theme5.xml><?xml version="1.0" encoding="utf-8"?>
<a:theme xmlns:a="http://schemas.openxmlformats.org/drawingml/2006/main" name="1_White">
  <a:themeElements>
    <a:clrScheme name="Custom 3">
      <a:dk1>
        <a:srgbClr val="333333"/>
      </a:dk1>
      <a:lt1>
        <a:srgbClr val="FFFFFF"/>
      </a:lt1>
      <a:dk2>
        <a:srgbClr val="FFFFFF"/>
      </a:dk2>
      <a:lt2>
        <a:srgbClr val="D1D1D1"/>
      </a:lt2>
      <a:accent1>
        <a:srgbClr val="A22424"/>
      </a:accent1>
      <a:accent2>
        <a:srgbClr val="8E8E8E"/>
      </a:accent2>
      <a:accent3>
        <a:srgbClr val="540000"/>
      </a:accent3>
      <a:accent4>
        <a:srgbClr val="D1D1D1"/>
      </a:accent4>
      <a:accent5>
        <a:srgbClr val="C02222"/>
      </a:accent5>
      <a:accent6>
        <a:srgbClr val="FFC000"/>
      </a:accent6>
      <a:hlink>
        <a:srgbClr val="000099"/>
      </a:hlink>
      <a:folHlink>
        <a:srgbClr val="66006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333333"/>
        </a:dk1>
        <a:lt1>
          <a:srgbClr val="FFFFFF"/>
        </a:lt1>
        <a:dk2>
          <a:srgbClr val="FFFFFF"/>
        </a:dk2>
        <a:lt2>
          <a:srgbClr val="EFBCB3"/>
        </a:lt2>
        <a:accent1>
          <a:srgbClr val="A22424"/>
        </a:accent1>
        <a:accent2>
          <a:srgbClr val="D2452E"/>
        </a:accent2>
        <a:accent3>
          <a:srgbClr val="540000"/>
        </a:accent3>
        <a:accent4>
          <a:srgbClr val="D1D1D1"/>
        </a:accent4>
        <a:accent5>
          <a:srgbClr val="8E8E8E"/>
        </a:accent5>
        <a:accent6>
          <a:srgbClr val="FFC0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V0942_template_v2.potx" id="{C4D3070D-B9C1-4F0B-A63A-F960612DE9CF}" vid="{F998C308-FAC4-4A5C-AB06-BA0FA07730E8}"/>
    </a:ext>
  </a:extLst>
</a:theme>
</file>

<file path=ppt/theme/theme6.xml><?xml version="1.0" encoding="utf-8"?>
<a:theme xmlns:a="http://schemas.openxmlformats.org/drawingml/2006/main" name="2_White">
  <a:themeElements>
    <a:clrScheme name="Custom 3">
      <a:dk1>
        <a:srgbClr val="333333"/>
      </a:dk1>
      <a:lt1>
        <a:srgbClr val="FFFFFF"/>
      </a:lt1>
      <a:dk2>
        <a:srgbClr val="FFFFFF"/>
      </a:dk2>
      <a:lt2>
        <a:srgbClr val="D1D1D1"/>
      </a:lt2>
      <a:accent1>
        <a:srgbClr val="A22424"/>
      </a:accent1>
      <a:accent2>
        <a:srgbClr val="8E8E8E"/>
      </a:accent2>
      <a:accent3>
        <a:srgbClr val="540000"/>
      </a:accent3>
      <a:accent4>
        <a:srgbClr val="D1D1D1"/>
      </a:accent4>
      <a:accent5>
        <a:srgbClr val="C02222"/>
      </a:accent5>
      <a:accent6>
        <a:srgbClr val="FFC000"/>
      </a:accent6>
      <a:hlink>
        <a:srgbClr val="000099"/>
      </a:hlink>
      <a:folHlink>
        <a:srgbClr val="66006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333333"/>
        </a:dk1>
        <a:lt1>
          <a:srgbClr val="FFFFFF"/>
        </a:lt1>
        <a:dk2>
          <a:srgbClr val="FFFFFF"/>
        </a:dk2>
        <a:lt2>
          <a:srgbClr val="EFBCB3"/>
        </a:lt2>
        <a:accent1>
          <a:srgbClr val="A22424"/>
        </a:accent1>
        <a:accent2>
          <a:srgbClr val="D2452E"/>
        </a:accent2>
        <a:accent3>
          <a:srgbClr val="540000"/>
        </a:accent3>
        <a:accent4>
          <a:srgbClr val="D1D1D1"/>
        </a:accent4>
        <a:accent5>
          <a:srgbClr val="8E8E8E"/>
        </a:accent5>
        <a:accent6>
          <a:srgbClr val="FFC0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V0942_template_v2.potx" id="{C4D3070D-B9C1-4F0B-A63A-F960612DE9CF}" vid="{F998C308-FAC4-4A5C-AB06-BA0FA07730E8}"/>
    </a:ext>
  </a:extLst>
</a:theme>
</file>

<file path=ppt/theme/theme7.xml><?xml version="1.0" encoding="utf-8"?>
<a:theme xmlns:a="http://schemas.openxmlformats.org/drawingml/2006/main" name="3_White">
  <a:themeElements>
    <a:clrScheme name="Custom 3">
      <a:dk1>
        <a:srgbClr val="333333"/>
      </a:dk1>
      <a:lt1>
        <a:srgbClr val="FFFFFF"/>
      </a:lt1>
      <a:dk2>
        <a:srgbClr val="FFFFFF"/>
      </a:dk2>
      <a:lt2>
        <a:srgbClr val="D1D1D1"/>
      </a:lt2>
      <a:accent1>
        <a:srgbClr val="A22424"/>
      </a:accent1>
      <a:accent2>
        <a:srgbClr val="8E8E8E"/>
      </a:accent2>
      <a:accent3>
        <a:srgbClr val="540000"/>
      </a:accent3>
      <a:accent4>
        <a:srgbClr val="D1D1D1"/>
      </a:accent4>
      <a:accent5>
        <a:srgbClr val="C02222"/>
      </a:accent5>
      <a:accent6>
        <a:srgbClr val="FFC000"/>
      </a:accent6>
      <a:hlink>
        <a:srgbClr val="000099"/>
      </a:hlink>
      <a:folHlink>
        <a:srgbClr val="66006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333333"/>
        </a:dk1>
        <a:lt1>
          <a:srgbClr val="FFFFFF"/>
        </a:lt1>
        <a:dk2>
          <a:srgbClr val="FFFFFF"/>
        </a:dk2>
        <a:lt2>
          <a:srgbClr val="EFBCB3"/>
        </a:lt2>
        <a:accent1>
          <a:srgbClr val="A22424"/>
        </a:accent1>
        <a:accent2>
          <a:srgbClr val="D2452E"/>
        </a:accent2>
        <a:accent3>
          <a:srgbClr val="540000"/>
        </a:accent3>
        <a:accent4>
          <a:srgbClr val="D1D1D1"/>
        </a:accent4>
        <a:accent5>
          <a:srgbClr val="8E8E8E"/>
        </a:accent5>
        <a:accent6>
          <a:srgbClr val="FFC000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SV0942_template_v2.potx" id="{C4D3070D-B9C1-4F0B-A63A-F960612DE9CF}" vid="{F998C308-FAC4-4A5C-AB06-BA0FA07730E8}"/>
    </a:ext>
  </a:extLst>
</a:theme>
</file>

<file path=ppt/theme/theme8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V0942_template_v2</Template>
  <TotalTime>22793</TotalTime>
  <Words>569</Words>
  <Application>Microsoft Office PowerPoint</Application>
  <PresentationFormat>Widescreen</PresentationFormat>
  <Paragraphs>67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Calibri Light</vt:lpstr>
      <vt:lpstr>Arial Black</vt:lpstr>
      <vt:lpstr>Calibri</vt:lpstr>
      <vt:lpstr>Wingdings</vt:lpstr>
      <vt:lpstr>Segoe UI</vt:lpstr>
      <vt:lpstr>Custom Design</vt:lpstr>
      <vt:lpstr>1_Custom Design</vt:lpstr>
      <vt:lpstr>4_White</vt:lpstr>
      <vt:lpstr>White</vt:lpstr>
      <vt:lpstr>1_White</vt:lpstr>
      <vt:lpstr>2_White</vt:lpstr>
      <vt:lpstr>3_White</vt:lpstr>
      <vt:lpstr>think-cell Slide</vt:lpstr>
      <vt:lpstr>Introducing Assignment: Earth</vt:lpstr>
      <vt:lpstr>Assignment: earth</vt:lpstr>
      <vt:lpstr>Why everyone is needed </vt:lpstr>
      <vt:lpstr>Assignment: earth</vt:lpstr>
      <vt:lpstr>Assignment: earth key goals </vt:lpstr>
      <vt:lpstr>Assignment: earth and you </vt:lpstr>
      <vt:lpstr>Assignment: earth recent achievements </vt:lpstr>
      <vt:lpstr>Thank you!</vt:lpstr>
      <vt:lpstr>Backup</vt:lpstr>
      <vt:lpstr>Research Focu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agship Initiatives: Institute for AI &amp; Medicine</dc:title>
  <dc:subject/>
  <dc:creator>Emily Lurie</dc:creator>
  <cp:keywords/>
  <dc:description/>
  <cp:lastModifiedBy>Mick Dalrymple</cp:lastModifiedBy>
  <cp:revision>737</cp:revision>
  <cp:lastPrinted>2018-10-30T20:37:12Z</cp:lastPrinted>
  <dcterms:created xsi:type="dcterms:W3CDTF">2020-05-18T20:44:01Z</dcterms:created>
  <dcterms:modified xsi:type="dcterms:W3CDTF">2022-10-19T05:37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3-05 10:17 PM</vt:lpwstr>
  </property>
  <property fmtid="{D5CDD505-2E9C-101B-9397-08002B2CF9AE}" pid="8" name="TemplateCreated">
    <vt:lpwstr>2019-02-27 01:18 PM</vt:lpwstr>
  </property>
</Properties>
</file>